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notesMasterIdLst>
    <p:notesMasterId r:id="rId9"/>
  </p:notesMasterIdLst>
  <p:sldIdLst>
    <p:sldId id="2141411948" r:id="rId5"/>
    <p:sldId id="2141411949" r:id="rId6"/>
    <p:sldId id="2141411951" r:id="rId7"/>
    <p:sldId id="2141411950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nnon, Patrick (EOHED)" initials="SP(" lastIdx="4" clrIdx="0">
    <p:extLst>
      <p:ext uri="{19B8F6BF-5375-455C-9EA6-DF929625EA0E}">
        <p15:presenceInfo xmlns:p15="http://schemas.microsoft.com/office/powerpoint/2012/main" userId="S::Patrick.Shannon@mass.gov::d91511b2-03db-4234-a1a6-1fe33e63200b" providerId="AD"/>
      </p:ext>
    </p:extLst>
  </p:cmAuthor>
  <p:cmAuthor id="2" name="Vega, Juan (EOHED)" initials="VJ(" lastIdx="3" clrIdx="1">
    <p:extLst>
      <p:ext uri="{19B8F6BF-5375-455C-9EA6-DF929625EA0E}">
        <p15:presenceInfo xmlns:p15="http://schemas.microsoft.com/office/powerpoint/2012/main" userId="S-1-5-21-1078081533-706699826-839522115-58154" providerId="AD"/>
      </p:ext>
    </p:extLst>
  </p:cmAuthor>
  <p:cmAuthor id="3" name="Morton2, Brett (OCD)" initials="MB(" lastIdx="19" clrIdx="2">
    <p:extLst>
      <p:ext uri="{19B8F6BF-5375-455C-9EA6-DF929625EA0E}">
        <p15:presenceInfo xmlns:p15="http://schemas.microsoft.com/office/powerpoint/2012/main" userId="S::Brett.Morton2@mass.gov::06bf3a26-621d-4ff5-a8e4-bf67b87fcae2" providerId="AD"/>
      </p:ext>
    </p:extLst>
  </p:cmAuthor>
  <p:cmAuthor id="4" name="Kluchman, Chris (OCD)" initials="KC(" lastIdx="8" clrIdx="3">
    <p:extLst>
      <p:ext uri="{19B8F6BF-5375-455C-9EA6-DF929625EA0E}">
        <p15:presenceInfo xmlns:p15="http://schemas.microsoft.com/office/powerpoint/2012/main" userId="S::Chris.Kluchman@mass.gov::3b2805cf-7dc0-4105-8ee7-e9f9424f61f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99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8476466-BFDE-496E-9866-9153DED2C6C9}" v="54" dt="2022-03-16T19:38:47.2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0562" autoAdjust="0"/>
  </p:normalViewPr>
  <p:slideViewPr>
    <p:cSldViewPr snapToGrid="0">
      <p:cViewPr varScale="1">
        <p:scale>
          <a:sx n="92" d="100"/>
          <a:sy n="92" d="100"/>
        </p:scale>
        <p:origin x="123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amborlini, Filipe (OCD)" userId="d258b38a-e832-4fb6-b534-07694169758c" providerId="ADAL" clId="{980758E9-7DD3-4670-9F53-461A1E593DEA}"/>
    <pc:docChg chg="undo custSel addSld delSld modSld">
      <pc:chgData name="Zamborlini, Filipe (OCD)" userId="d258b38a-e832-4fb6-b534-07694169758c" providerId="ADAL" clId="{980758E9-7DD3-4670-9F53-461A1E593DEA}" dt="2022-03-16T19:39:14.157" v="557" actId="207"/>
      <pc:docMkLst>
        <pc:docMk/>
      </pc:docMkLst>
      <pc:sldChg chg="addSp delSp modSp mod">
        <pc:chgData name="Zamborlini, Filipe (OCD)" userId="d258b38a-e832-4fb6-b534-07694169758c" providerId="ADAL" clId="{980758E9-7DD3-4670-9F53-461A1E593DEA}" dt="2022-03-16T19:14:19.736" v="122" actId="20577"/>
        <pc:sldMkLst>
          <pc:docMk/>
          <pc:sldMk cId="3836957421" sldId="2141411948"/>
        </pc:sldMkLst>
        <pc:spChg chg="mod">
          <ac:chgData name="Zamborlini, Filipe (OCD)" userId="d258b38a-e832-4fb6-b534-07694169758c" providerId="ADAL" clId="{980758E9-7DD3-4670-9F53-461A1E593DEA}" dt="2022-03-16T19:14:19.736" v="122" actId="20577"/>
          <ac:spMkLst>
            <pc:docMk/>
            <pc:sldMk cId="3836957421" sldId="2141411948"/>
            <ac:spMk id="3" creationId="{C35BB679-75DD-420B-A684-E6841EF67721}"/>
          </ac:spMkLst>
        </pc:spChg>
        <pc:spChg chg="add del mod">
          <ac:chgData name="Zamborlini, Filipe (OCD)" userId="d258b38a-e832-4fb6-b534-07694169758c" providerId="ADAL" clId="{980758E9-7DD3-4670-9F53-461A1E593DEA}" dt="2022-03-16T19:12:52.036" v="70" actId="478"/>
          <ac:spMkLst>
            <pc:docMk/>
            <pc:sldMk cId="3836957421" sldId="2141411948"/>
            <ac:spMk id="4" creationId="{6E21F05A-6C2F-40AE-A65A-8FE15D45AF48}"/>
          </ac:spMkLst>
        </pc:spChg>
        <pc:spChg chg="mod">
          <ac:chgData name="Zamborlini, Filipe (OCD)" userId="d258b38a-e832-4fb6-b534-07694169758c" providerId="ADAL" clId="{980758E9-7DD3-4670-9F53-461A1E593DEA}" dt="2022-03-16T19:13:35.621" v="80" actId="207"/>
          <ac:spMkLst>
            <pc:docMk/>
            <pc:sldMk cId="3836957421" sldId="2141411948"/>
            <ac:spMk id="8" creationId="{67AE15AA-DF57-4637-9B25-43E2B6A5B3AF}"/>
          </ac:spMkLst>
        </pc:spChg>
        <pc:grpChg chg="add mod">
          <ac:chgData name="Zamborlini, Filipe (OCD)" userId="d258b38a-e832-4fb6-b534-07694169758c" providerId="ADAL" clId="{980758E9-7DD3-4670-9F53-461A1E593DEA}" dt="2022-03-16T19:13:13.156" v="78" actId="1076"/>
          <ac:grpSpMkLst>
            <pc:docMk/>
            <pc:sldMk cId="3836957421" sldId="2141411948"/>
            <ac:grpSpMk id="6" creationId="{141D8C7F-F35A-4210-934A-4366856B3369}"/>
          </ac:grpSpMkLst>
        </pc:grpChg>
        <pc:picChg chg="add del mod">
          <ac:chgData name="Zamborlini, Filipe (OCD)" userId="d258b38a-e832-4fb6-b534-07694169758c" providerId="ADAL" clId="{980758E9-7DD3-4670-9F53-461A1E593DEA}" dt="2022-03-16T19:12:52.749" v="71" actId="478"/>
          <ac:picMkLst>
            <pc:docMk/>
            <pc:sldMk cId="3836957421" sldId="2141411948"/>
            <ac:picMk id="5" creationId="{07C72CB3-56D0-41E8-9362-DC3A1ED51D1F}"/>
          </ac:picMkLst>
        </pc:picChg>
      </pc:sldChg>
      <pc:sldChg chg="del">
        <pc:chgData name="Zamborlini, Filipe (OCD)" userId="d258b38a-e832-4fb6-b534-07694169758c" providerId="ADAL" clId="{980758E9-7DD3-4670-9F53-461A1E593DEA}" dt="2022-03-16T19:10:56.276" v="0" actId="2696"/>
        <pc:sldMkLst>
          <pc:docMk/>
          <pc:sldMk cId="38004150" sldId="2141411949"/>
        </pc:sldMkLst>
      </pc:sldChg>
      <pc:sldChg chg="addSp delSp modSp new mod">
        <pc:chgData name="Zamborlini, Filipe (OCD)" userId="d258b38a-e832-4fb6-b534-07694169758c" providerId="ADAL" clId="{980758E9-7DD3-4670-9F53-461A1E593DEA}" dt="2022-03-16T19:39:08.759" v="555" actId="207"/>
        <pc:sldMkLst>
          <pc:docMk/>
          <pc:sldMk cId="1052417999" sldId="2141411949"/>
        </pc:sldMkLst>
        <pc:spChg chg="del">
          <ac:chgData name="Zamborlini, Filipe (OCD)" userId="d258b38a-e832-4fb6-b534-07694169758c" providerId="ADAL" clId="{980758E9-7DD3-4670-9F53-461A1E593DEA}" dt="2022-03-16T19:31:48.691" v="124"/>
          <ac:spMkLst>
            <pc:docMk/>
            <pc:sldMk cId="1052417999" sldId="2141411949"/>
            <ac:spMk id="2" creationId="{7708A731-0169-4006-9FCC-6FADC26E3E1E}"/>
          </ac:spMkLst>
        </pc:spChg>
        <pc:spChg chg="del">
          <ac:chgData name="Zamborlini, Filipe (OCD)" userId="d258b38a-e832-4fb6-b534-07694169758c" providerId="ADAL" clId="{980758E9-7DD3-4670-9F53-461A1E593DEA}" dt="2022-03-16T19:31:48.691" v="124"/>
          <ac:spMkLst>
            <pc:docMk/>
            <pc:sldMk cId="1052417999" sldId="2141411949"/>
            <ac:spMk id="3" creationId="{4CEE1932-4105-4291-95BC-7D8FF524CF10}"/>
          </ac:spMkLst>
        </pc:spChg>
        <pc:spChg chg="add mod">
          <ac:chgData name="Zamborlini, Filipe (OCD)" userId="d258b38a-e832-4fb6-b534-07694169758c" providerId="ADAL" clId="{980758E9-7DD3-4670-9F53-461A1E593DEA}" dt="2022-03-16T19:31:54.903" v="153" actId="20577"/>
          <ac:spMkLst>
            <pc:docMk/>
            <pc:sldMk cId="1052417999" sldId="2141411949"/>
            <ac:spMk id="4" creationId="{79BEAC81-6F7F-447E-8A9F-5C0A330ED65E}"/>
          </ac:spMkLst>
        </pc:spChg>
        <pc:spChg chg="add mod">
          <ac:chgData name="Zamborlini, Filipe (OCD)" userId="d258b38a-e832-4fb6-b534-07694169758c" providerId="ADAL" clId="{980758E9-7DD3-4670-9F53-461A1E593DEA}" dt="2022-03-16T19:39:06.916" v="554" actId="207"/>
          <ac:spMkLst>
            <pc:docMk/>
            <pc:sldMk cId="1052417999" sldId="2141411949"/>
            <ac:spMk id="5" creationId="{2B008A66-7572-49F2-BF56-BFEB93D41191}"/>
          </ac:spMkLst>
        </pc:spChg>
        <pc:spChg chg="add del mod">
          <ac:chgData name="Zamborlini, Filipe (OCD)" userId="d258b38a-e832-4fb6-b534-07694169758c" providerId="ADAL" clId="{980758E9-7DD3-4670-9F53-461A1E593DEA}" dt="2022-03-16T19:35:06.455" v="235" actId="478"/>
          <ac:spMkLst>
            <pc:docMk/>
            <pc:sldMk cId="1052417999" sldId="2141411949"/>
            <ac:spMk id="6" creationId="{215F8849-BA5D-4DDB-B3B0-78B387362799}"/>
          </ac:spMkLst>
        </pc:spChg>
        <pc:spChg chg="add del mod">
          <ac:chgData name="Zamborlini, Filipe (OCD)" userId="d258b38a-e832-4fb6-b534-07694169758c" providerId="ADAL" clId="{980758E9-7DD3-4670-9F53-461A1E593DEA}" dt="2022-03-16T19:35:45.128" v="247" actId="478"/>
          <ac:spMkLst>
            <pc:docMk/>
            <pc:sldMk cId="1052417999" sldId="2141411949"/>
            <ac:spMk id="7" creationId="{D1B3EEEF-A6C2-4474-A3A1-1C7FC8AB024C}"/>
          </ac:spMkLst>
        </pc:spChg>
        <pc:spChg chg="add del">
          <ac:chgData name="Zamborlini, Filipe (OCD)" userId="d258b38a-e832-4fb6-b534-07694169758c" providerId="ADAL" clId="{980758E9-7DD3-4670-9F53-461A1E593DEA}" dt="2022-03-16T19:35:27.968" v="242"/>
          <ac:spMkLst>
            <pc:docMk/>
            <pc:sldMk cId="1052417999" sldId="2141411949"/>
            <ac:spMk id="8" creationId="{8859FAF9-6AF6-421E-9A12-59C5151523E6}"/>
          </ac:spMkLst>
        </pc:spChg>
        <pc:spChg chg="add mod">
          <ac:chgData name="Zamborlini, Filipe (OCD)" userId="d258b38a-e832-4fb6-b534-07694169758c" providerId="ADAL" clId="{980758E9-7DD3-4670-9F53-461A1E593DEA}" dt="2022-03-16T19:39:08.759" v="555" actId="207"/>
          <ac:spMkLst>
            <pc:docMk/>
            <pc:sldMk cId="1052417999" sldId="2141411949"/>
            <ac:spMk id="9" creationId="{A7ECB060-47F8-4FB5-BA88-A295779480D8}"/>
          </ac:spMkLst>
        </pc:spChg>
        <pc:spChg chg="add del">
          <ac:chgData name="Zamborlini, Filipe (OCD)" userId="d258b38a-e832-4fb6-b534-07694169758c" providerId="ADAL" clId="{980758E9-7DD3-4670-9F53-461A1E593DEA}" dt="2022-03-16T19:35:58.824" v="252"/>
          <ac:spMkLst>
            <pc:docMk/>
            <pc:sldMk cId="1052417999" sldId="2141411949"/>
            <ac:spMk id="10" creationId="{027897D3-EA68-44F6-8D41-786E45BB4F21}"/>
          </ac:spMkLst>
        </pc:spChg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602958990" sldId="2141411950"/>
        </pc:sldMkLst>
      </pc:sldChg>
      <pc:sldChg chg="add">
        <pc:chgData name="Zamborlini, Filipe (OCD)" userId="d258b38a-e832-4fb6-b534-07694169758c" providerId="ADAL" clId="{980758E9-7DD3-4670-9F53-461A1E593DEA}" dt="2022-03-16T19:32:42.188" v="154"/>
        <pc:sldMkLst>
          <pc:docMk/>
          <pc:sldMk cId="3148458442" sldId="2141411950"/>
        </pc:sldMkLst>
      </pc:sldChg>
      <pc:sldChg chg="addSp delSp modSp add mod">
        <pc:chgData name="Zamborlini, Filipe (OCD)" userId="d258b38a-e832-4fb6-b534-07694169758c" providerId="ADAL" clId="{980758E9-7DD3-4670-9F53-461A1E593DEA}" dt="2022-03-16T19:39:14.157" v="557" actId="207"/>
        <pc:sldMkLst>
          <pc:docMk/>
          <pc:sldMk cId="272285783" sldId="2141411951"/>
        </pc:sldMkLst>
        <pc:spChg chg="mod">
          <ac:chgData name="Zamborlini, Filipe (OCD)" userId="d258b38a-e832-4fb6-b534-07694169758c" providerId="ADAL" clId="{980758E9-7DD3-4670-9F53-461A1E593DEA}" dt="2022-03-16T19:39:12.431" v="556" actId="207"/>
          <ac:spMkLst>
            <pc:docMk/>
            <pc:sldMk cId="272285783" sldId="2141411951"/>
            <ac:spMk id="5" creationId="{2B008A66-7572-49F2-BF56-BFEB93D41191}"/>
          </ac:spMkLst>
        </pc:spChg>
        <pc:spChg chg="add mod">
          <ac:chgData name="Zamborlini, Filipe (OCD)" userId="d258b38a-e832-4fb6-b534-07694169758c" providerId="ADAL" clId="{980758E9-7DD3-4670-9F53-461A1E593DEA}" dt="2022-03-16T19:39:14.157" v="557" actId="207"/>
          <ac:spMkLst>
            <pc:docMk/>
            <pc:sldMk cId="272285783" sldId="2141411951"/>
            <ac:spMk id="6" creationId="{F0D4EC90-70E0-4528-AE84-097A8C500465}"/>
          </ac:spMkLst>
        </pc:spChg>
        <pc:spChg chg="del mod">
          <ac:chgData name="Zamborlini, Filipe (OCD)" userId="d258b38a-e832-4fb6-b534-07694169758c" providerId="ADAL" clId="{980758E9-7DD3-4670-9F53-461A1E593DEA}" dt="2022-03-16T19:38:49.854" v="552" actId="478"/>
          <ac:spMkLst>
            <pc:docMk/>
            <pc:sldMk cId="272285783" sldId="2141411951"/>
            <ac:spMk id="9" creationId="{A7ECB060-47F8-4FB5-BA88-A295779480D8}"/>
          </ac:spMkLst>
        </pc:spChg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1106325792" sldId="2141411951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2151676391" sldId="2141411952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3768367961" sldId="2141411953"/>
        </pc:sldMkLst>
      </pc:sldChg>
      <pc:sldChg chg="del">
        <pc:chgData name="Zamborlini, Filipe (OCD)" userId="d258b38a-e832-4fb6-b534-07694169758c" providerId="ADAL" clId="{980758E9-7DD3-4670-9F53-461A1E593DEA}" dt="2022-03-16T19:13:58.300" v="81" actId="2696"/>
        <pc:sldMkLst>
          <pc:docMk/>
          <pc:sldMk cId="1779852948" sldId="2141411954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870463689" sldId="2141411955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1471170813" sldId="2141411956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3714158941" sldId="2141411957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466936251" sldId="2141411958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3531379297" sldId="2141411959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1851940281" sldId="2141411961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3577463344" sldId="2141411962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849178992" sldId="2141411968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2557261658" sldId="2141411971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2337893414" sldId="2141411972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3547079811" sldId="2141411973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3576879042" sldId="2141411974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1504627966" sldId="2141411975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2293846265" sldId="2141411976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3088348032" sldId="2141411977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3880291876" sldId="2141411978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2091374864" sldId="2141411979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4220439120" sldId="2141411981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3726222009" sldId="2141411982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2178544123" sldId="2141411983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2571513916" sldId="2141411985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4239674014" sldId="2141411988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2850216636" sldId="2141411989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967776865" sldId="2141411990"/>
        </pc:sldMkLst>
      </pc:sldChg>
      <pc:sldChg chg="del">
        <pc:chgData name="Zamborlini, Filipe (OCD)" userId="d258b38a-e832-4fb6-b534-07694169758c" providerId="ADAL" clId="{980758E9-7DD3-4670-9F53-461A1E593DEA}" dt="2022-03-16T19:11:10.572" v="1" actId="2696"/>
        <pc:sldMkLst>
          <pc:docMk/>
          <pc:sldMk cId="701095511" sldId="2141411991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ACB448-9662-430A-98D8-5C091B7BE009}" type="datetimeFigureOut">
              <a:rPr lang="en-US" smtClean="0"/>
              <a:t>3/1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966368-103A-49CB-816B-158C0BAE8E3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54806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966368-103A-49CB-816B-158C0BAE8E38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02641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966368-103A-49CB-816B-158C0BAE8E38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341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6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6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7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8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0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8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7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8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oleObject" Target="../embeddings/oleObject4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7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8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11.jpeg"/><Relationship Id="rId2" Type="http://schemas.openxmlformats.org/officeDocument/2006/relationships/tags" Target="../tags/tag5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6.png"/><Relationship Id="rId2" Type="http://schemas.openxmlformats.org/officeDocument/2006/relationships/tags" Target="../tags/tag6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6.png"/><Relationship Id="rId2" Type="http://schemas.openxmlformats.org/officeDocument/2006/relationships/tags" Target="../tags/tag67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6.png"/><Relationship Id="rId2" Type="http://schemas.openxmlformats.org/officeDocument/2006/relationships/tags" Target="../tags/tag69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6.png"/><Relationship Id="rId2" Type="http://schemas.openxmlformats.org/officeDocument/2006/relationships/tags" Target="../tags/tag7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6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6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7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8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10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8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7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8.png"/><Relationship Id="rId2" Type="http://schemas.openxmlformats.org/officeDocument/2006/relationships/tags" Target="../tags/tag87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7.png"/><Relationship Id="rId2" Type="http://schemas.openxmlformats.org/officeDocument/2006/relationships/tags" Target="../tags/tag8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8.png"/><Relationship Id="rId2" Type="http://schemas.openxmlformats.org/officeDocument/2006/relationships/tags" Target="../tags/tag9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8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7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8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9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0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2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1459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30469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 dirty="0"/>
              <a:t>Click to add date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228600" y="533400"/>
            <a:ext cx="7942686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400">
              <a:spcBef>
                <a:spcPts val="600"/>
              </a:spcBef>
            </a:pPr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79310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431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9969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7874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3570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0559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685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12519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5368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685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2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951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2496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88228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57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32352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69245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4781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4319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2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11006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547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45109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658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238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9380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239925" y="1427623"/>
            <a:ext cx="11100664" cy="5125577"/>
          </a:xfrm>
          <a:prstGeom prst="rect">
            <a:avLst/>
          </a:prstGeom>
        </p:spPr>
        <p:txBody>
          <a:bodyPr/>
          <a:lstStyle>
            <a:lvl1pPr marL="342900" indent="-342900">
              <a:buClrTx/>
              <a:buFont typeface="Arial" panose="020B0604020202020204" pitchFamily="34" charset="0"/>
              <a:buChar char="•"/>
              <a:defRPr sz="2000" b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body</a:t>
            </a:r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81D827C-9DC1-4437-B5B9-34FE9DB5B6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607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9" imgW="286" imgH="286" progId="TCLayout.ActiveDocument.1">
                  <p:embed/>
                </p:oleObj>
              </mc:Choice>
              <mc:Fallback>
                <p:oleObj name="think-cell Slide" r:id="rId9" imgW="286" imgH="28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81D827C-9DC1-4437-B5B9-34FE9DB5B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A3E5809-5780-42B0-A86E-D8ECCD184EB2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>
            <a:extLst>
              <a:ext uri="{FF2B5EF4-FFF2-40B4-BE49-F238E27FC236}">
                <a16:creationId xmlns:a16="http://schemas.microsoft.com/office/drawing/2014/main" id="{9D7A2872-0D06-4209-9380-9BAB4066C85E}"/>
              </a:ext>
            </a:extLst>
          </p:cNvPr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BC6075F-BDFE-45A8-B3B7-722444B416F9}"/>
              </a:ext>
            </a:extLst>
          </p:cNvPr>
          <p:cNvCxnSpPr/>
          <p:nvPr userDrawn="1"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BFFC18CE-C3F7-464E-8169-A9834D6DEACC}"/>
              </a:ext>
            </a:extLst>
          </p:cNvPr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7563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477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09871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1123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19815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072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78411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006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74295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44425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46666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032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535714"/>
            <a:ext cx="9839216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28989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898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97704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3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90700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9496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9163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24235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8600" y="533400"/>
            <a:ext cx="7942686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 dirty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9714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1272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2684" y="1219200"/>
            <a:ext cx="5461037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02311" y="1219200"/>
            <a:ext cx="5461037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5941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287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3996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642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30469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 dirty="0"/>
              <a:t>Click to add date</a:t>
            </a: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600" y="533400"/>
            <a:ext cx="7942686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400">
              <a:spcBef>
                <a:spcPts val="600"/>
              </a:spcBef>
            </a:pPr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94226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787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7675" y="672001"/>
            <a:ext cx="1002154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1226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5628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672001"/>
            <a:ext cx="1002154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15675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1259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878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62685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8135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4564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5515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4242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7604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1130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61033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3873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18596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7718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76232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8379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1701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813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38374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5292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685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8275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528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685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8758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38486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77985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358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88569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512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066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308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3705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589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8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9939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883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31990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8297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956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7022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15675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8741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5711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25140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3327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99064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5671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4938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822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8602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1427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9966776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3826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4563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29999" y="2548118"/>
            <a:ext cx="3067357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81130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5056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41869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01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90189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5308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5525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0790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8600" y="533400"/>
            <a:ext cx="7942686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 dirty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095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514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62685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12397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1442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27769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1034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17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9879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2029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29639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2928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60161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62472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19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93998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601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86398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3043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4773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05767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86924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3904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1602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3234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21558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088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2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9" name="Rectangle 58"/>
          <p:cNvSpPr/>
          <p:nvPr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03720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07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239925" y="1427623"/>
            <a:ext cx="11100664" cy="5125577"/>
          </a:xfrm>
          <a:prstGeom prst="rect">
            <a:avLst/>
          </a:prstGeom>
        </p:spPr>
        <p:txBody>
          <a:bodyPr/>
          <a:lstStyle>
            <a:lvl1pPr marL="342900" indent="-342900">
              <a:buClrTx/>
              <a:buFont typeface="Arial" panose="020B0604020202020204" pitchFamily="34" charset="0"/>
              <a:buChar char="•"/>
              <a:defRPr sz="2000" b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body</a:t>
            </a:r>
          </a:p>
        </p:txBody>
      </p:sp>
    </p:spTree>
    <p:extLst>
      <p:ext uri="{BB962C8B-B14F-4D97-AF65-F5344CB8AC3E}">
        <p14:creationId xmlns:p14="http://schemas.microsoft.com/office/powerpoint/2010/main" val="3580776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62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3648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50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6" name="Rectangle 25"/>
          <p:cNvSpPr/>
          <p:nvPr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71287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71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1721372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6" imgW="270" imgH="270" progId="TCLayout.ActiveDocument.1">
                  <p:embed/>
                </p:oleObj>
              </mc:Choice>
              <mc:Fallback>
                <p:oleObj name="think-cell Slide" r:id="rId7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7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5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7" r:id="rId46"/>
    <p:sldLayoutId id="2147483708" r:id="rId47"/>
    <p:sldLayoutId id="2147483709" r:id="rId48"/>
    <p:sldLayoutId id="2147483710" r:id="rId49"/>
    <p:sldLayoutId id="2147483711" r:id="rId50"/>
    <p:sldLayoutId id="2147483712" r:id="rId51"/>
    <p:sldLayoutId id="2147483713" r:id="rId52"/>
    <p:sldLayoutId id="2147483714" r:id="rId53"/>
    <p:sldLayoutId id="2147483715" r:id="rId54"/>
    <p:sldLayoutId id="2147483716" r:id="rId55"/>
    <p:sldLayoutId id="2147483717" r:id="rId56"/>
    <p:sldLayoutId id="2147483718" r:id="rId57"/>
    <p:sldLayoutId id="2147483719" r:id="rId58"/>
    <p:sldLayoutId id="2147483720" r:id="rId59"/>
    <p:sldLayoutId id="2147483721" r:id="rId60"/>
    <p:sldLayoutId id="2147483722" r:id="rId61"/>
    <p:sldLayoutId id="2147483723" r:id="rId62"/>
    <p:sldLayoutId id="2147483724" r:id="rId63"/>
    <p:sldLayoutId id="2147483725" r:id="rId64"/>
    <p:sldLayoutId id="2147483726" r:id="rId65"/>
    <p:sldLayoutId id="2147483727" r:id="rId66"/>
    <p:sldLayoutId id="2147483728" r:id="rId67"/>
    <p:sldLayoutId id="2147483729" r:id="rId68"/>
    <p:sldLayoutId id="2147483730" r:id="rId69"/>
    <p:sldLayoutId id="2147483660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mailto:Filipe.Zamborlini@mass.gov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hyperlink" Target="mailto:Filipe.Zamborlini@mass.gov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35BB679-75DD-420B-A684-E6841EF67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64203"/>
            <a:ext cx="7259782" cy="886397"/>
          </a:xfrm>
        </p:spPr>
        <p:txBody>
          <a:bodyPr/>
          <a:lstStyle/>
          <a:p>
            <a:pPr algn="ctr"/>
            <a:r>
              <a:rPr lang="en-US" dirty="0"/>
              <a:t>Community Services Division</a:t>
            </a:r>
            <a:br>
              <a:rPr lang="en-US" dirty="0"/>
            </a:br>
            <a:r>
              <a:rPr lang="en-US" dirty="0"/>
              <a:t>Quarterly Reporting Tutorial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41D8C7F-F35A-4210-934A-4366856B3369}"/>
              </a:ext>
            </a:extLst>
          </p:cNvPr>
          <p:cNvGrpSpPr/>
          <p:nvPr/>
        </p:nvGrpSpPr>
        <p:grpSpPr>
          <a:xfrm>
            <a:off x="2212883" y="4487852"/>
            <a:ext cx="2834016" cy="1371600"/>
            <a:chOff x="628650" y="431767"/>
            <a:chExt cx="2834016" cy="137160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8EE637F-A6F4-4194-862A-A6B7C60E500F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314" b="33568"/>
            <a:stretch/>
          </p:blipFill>
          <p:spPr>
            <a:xfrm>
              <a:off x="628650" y="431767"/>
              <a:ext cx="1371600" cy="137160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7AE15AA-DF57-4637-9B25-43E2B6A5B3AF}"/>
                </a:ext>
              </a:extLst>
            </p:cNvPr>
            <p:cNvSpPr txBox="1"/>
            <p:nvPr/>
          </p:nvSpPr>
          <p:spPr>
            <a:xfrm>
              <a:off x="2000249" y="440949"/>
              <a:ext cx="1462417" cy="136241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Filipe Zamborlini</a:t>
              </a:r>
            </a:p>
            <a:p>
              <a:r>
                <a:rPr lang="en-US" dirty="0">
                  <a:solidFill>
                    <a:schemeClr val="bg1"/>
                  </a:solidFill>
                </a:rPr>
                <a:t>Community Grants Coordinator</a:t>
              </a:r>
            </a:p>
            <a:p>
              <a:r>
                <a:rPr lang="en-US" dirty="0">
                  <a:solidFill>
                    <a:schemeClr val="bg1"/>
                  </a:solidFill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ilipe.Zamborlini@mass.gov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6957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BEAC81-6F7F-447E-8A9F-5C0A330ED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rterly Report Requiremen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008A66-7572-49F2-BF56-BFEB93D41191}"/>
              </a:ext>
            </a:extLst>
          </p:cNvPr>
          <p:cNvSpPr txBox="1"/>
          <p:nvPr/>
        </p:nvSpPr>
        <p:spPr>
          <a:xfrm>
            <a:off x="3751119" y="1174172"/>
            <a:ext cx="8440882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chemeClr val="tx1"/>
                </a:solidFill>
                <a:cs typeface="Arial" panose="020B0604020202020204" pitchFamily="34" charset="0"/>
                <a:sym typeface="+mj-lt"/>
              </a:rPr>
              <a:t>Quarterly</a:t>
            </a:r>
            <a:r>
              <a:rPr lang="en-US" sz="3200" dirty="0">
                <a:solidFill>
                  <a:schemeClr val="tx1"/>
                </a:solidFill>
              </a:rPr>
              <a:t> </a:t>
            </a:r>
            <a:r>
              <a:rPr lang="en-US" sz="3200" b="1" dirty="0">
                <a:solidFill>
                  <a:schemeClr val="tx1"/>
                </a:solidFill>
                <a:cs typeface="Arial" panose="020B0604020202020204" pitchFamily="34" charset="0"/>
              </a:rPr>
              <a:t>Reports Due Dates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A7ECB060-47F8-4FB5-BA88-A295779480D8}"/>
              </a:ext>
            </a:extLst>
          </p:cNvPr>
          <p:cNvSpPr txBox="1">
            <a:spLocks/>
          </p:cNvSpPr>
          <p:nvPr/>
        </p:nvSpPr>
        <p:spPr>
          <a:xfrm>
            <a:off x="4085648" y="3429000"/>
            <a:ext cx="8106351" cy="13143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15th of the month following the end of the quarter for each Fiscal Year of your grant.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1"/>
                </a:solidFill>
              </a:rPr>
              <a:t>January 15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1"/>
                </a:solidFill>
              </a:rPr>
              <a:t>April 15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1"/>
                </a:solidFill>
              </a:rPr>
              <a:t>July 15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chemeClr val="tx1"/>
                </a:solidFill>
              </a:rPr>
              <a:t>October 15</a:t>
            </a:r>
          </a:p>
        </p:txBody>
      </p:sp>
    </p:spTree>
    <p:extLst>
      <p:ext uri="{BB962C8B-B14F-4D97-AF65-F5344CB8AC3E}">
        <p14:creationId xmlns:p14="http://schemas.microsoft.com/office/powerpoint/2010/main" val="1052417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BEAC81-6F7F-447E-8A9F-5C0A330ED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rterly Report Requiremen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008A66-7572-49F2-BF56-BFEB93D41191}"/>
              </a:ext>
            </a:extLst>
          </p:cNvPr>
          <p:cNvSpPr txBox="1"/>
          <p:nvPr/>
        </p:nvSpPr>
        <p:spPr>
          <a:xfrm>
            <a:off x="3751119" y="1174172"/>
            <a:ext cx="8440882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chemeClr val="tx1"/>
                </a:solidFill>
                <a:cs typeface="Arial" panose="020B0604020202020204" pitchFamily="34" charset="0"/>
                <a:sym typeface="+mj-lt"/>
              </a:rPr>
              <a:t>Information to Submit</a:t>
            </a:r>
            <a:endParaRPr lang="en-US" sz="32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F0D4EC90-70E0-4528-AE84-097A8C500465}"/>
              </a:ext>
            </a:extLst>
          </p:cNvPr>
          <p:cNvSpPr txBox="1">
            <a:spLocks/>
          </p:cNvSpPr>
          <p:nvPr/>
        </p:nvSpPr>
        <p:spPr>
          <a:xfrm>
            <a:off x="4085647" y="2771844"/>
            <a:ext cx="8106351" cy="131431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514350" indent="-514350">
              <a:buFont typeface="+mj-lt"/>
              <a:buAutoNum type="arabicPeriod"/>
            </a:pPr>
            <a:r>
              <a:rPr lang="en-US" i="1" dirty="0">
                <a:solidFill>
                  <a:schemeClr val="tx1"/>
                </a:solidFill>
              </a:rPr>
              <a:t>Amount spent per line item each quarter</a:t>
            </a:r>
          </a:p>
          <a:p>
            <a:pPr marL="514350" indent="-514350">
              <a:buFont typeface="+mj-lt"/>
              <a:buAutoNum type="arabicPeriod"/>
            </a:pPr>
            <a:r>
              <a:rPr lang="en-US" i="1" dirty="0">
                <a:solidFill>
                  <a:schemeClr val="tx1"/>
                </a:solidFill>
              </a:rPr>
              <a:t>Narrative if no funds are spent in quarter</a:t>
            </a:r>
          </a:p>
          <a:p>
            <a:pPr marL="514350" indent="-514350">
              <a:buFont typeface="+mj-lt"/>
              <a:buAutoNum type="arabicPeriod"/>
            </a:pPr>
            <a:r>
              <a:rPr lang="en-US" i="1" dirty="0">
                <a:solidFill>
                  <a:schemeClr val="tx1"/>
                </a:solidFill>
              </a:rPr>
              <a:t>Project highlights (optional)</a:t>
            </a:r>
          </a:p>
        </p:txBody>
      </p:sp>
    </p:spTree>
    <p:extLst>
      <p:ext uri="{BB962C8B-B14F-4D97-AF65-F5344CB8AC3E}">
        <p14:creationId xmlns:p14="http://schemas.microsoft.com/office/powerpoint/2010/main" val="272285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35BB679-75DD-420B-A684-E6841EF67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64203"/>
            <a:ext cx="7259782" cy="886397"/>
          </a:xfrm>
        </p:spPr>
        <p:txBody>
          <a:bodyPr/>
          <a:lstStyle/>
          <a:p>
            <a:pPr algn="ctr"/>
            <a:r>
              <a:rPr lang="en-US" dirty="0"/>
              <a:t>Community Services Division</a:t>
            </a:r>
            <a:br>
              <a:rPr lang="en-US" dirty="0"/>
            </a:br>
            <a:r>
              <a:rPr lang="en-US" dirty="0"/>
              <a:t>Quarterly Reporting Tutorial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41D8C7F-F35A-4210-934A-4366856B3369}"/>
              </a:ext>
            </a:extLst>
          </p:cNvPr>
          <p:cNvGrpSpPr/>
          <p:nvPr/>
        </p:nvGrpSpPr>
        <p:grpSpPr>
          <a:xfrm>
            <a:off x="2212883" y="4487852"/>
            <a:ext cx="2834016" cy="1371600"/>
            <a:chOff x="628650" y="431767"/>
            <a:chExt cx="2834016" cy="137160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8EE637F-A6F4-4194-862A-A6B7C60E500F}"/>
                </a:ext>
                <a:ext uri="{C183D7F6-B498-43B3-948B-1728B52AA6E4}">
                  <adec:decorative xmlns:adec="http://schemas.microsoft.com/office/drawing/2017/decorative" val="0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314" b="33568"/>
            <a:stretch/>
          </p:blipFill>
          <p:spPr>
            <a:xfrm>
              <a:off x="628650" y="431767"/>
              <a:ext cx="1371600" cy="137160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7AE15AA-DF57-4637-9B25-43E2B6A5B3AF}"/>
                </a:ext>
              </a:extLst>
            </p:cNvPr>
            <p:cNvSpPr txBox="1"/>
            <p:nvPr/>
          </p:nvSpPr>
          <p:spPr>
            <a:xfrm>
              <a:off x="2000249" y="440949"/>
              <a:ext cx="1462417" cy="136241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Filipe Zamborlini</a:t>
              </a:r>
            </a:p>
            <a:p>
              <a:r>
                <a:rPr lang="en-US" dirty="0">
                  <a:solidFill>
                    <a:schemeClr val="bg1"/>
                  </a:solidFill>
                </a:rPr>
                <a:t>Community Grants Coordinator</a:t>
              </a:r>
            </a:p>
            <a:p>
              <a:r>
                <a:rPr lang="en-US" dirty="0">
                  <a:solidFill>
                    <a:schemeClr val="bg1"/>
                  </a:solidFill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ilipe.Zamborlini@mass.gov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8458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Y3TUtAWCEyVgouIKpJ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6gXZgMbD3Hhifkgaog9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mRzxFn2ndc3EF2bQwT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3_zEYHNMM.i9u1UIDlv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PnVO5tPQHBrguEcizxj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2DWeAMXaWqP_Yswg2t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LL0l1R4du6IuOHm27D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lV6MgwjgHHt3Jux.3H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moBDbXqpfZrWvQ0eF7q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S4ZXSCT80CMpuhVSLvs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VUxidkXTkcaFBmN4UH0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4Ua_lei.ijPaO9v3t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78DyTKuYK0RoVRdtO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rhrDNns92i8GAiNGiTO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dYKEkiSx7UbFHW3Dv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k7SfZdhqGksTnYeijl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QirX1h9tNvKrB12aeT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DcbLvQ_O3eG3pQs8SQK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hqmB8oMKGJ2Z1tPNoik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Dmb.QtX0cefE3peKdM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ECdEVv3liOru1YNuY4R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d8pcatJjsNG5GxFtrD2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ID_0JSrt6jrfaaNtdkI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T_BXsiDPIolonTpP0Zg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xuBgrlii3MLJbTNBgVw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ABU8dNMhYZ3cFgO1bF5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QnssRPdsWArwmFLcLx2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3AhFq_sTCZ2pD5WL69L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NFRb0xjQ3NueeVOW5gq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k42uTJkqPB5_gbtORYc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shTMARfdn4o5o13uRqe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OhNXgWJo0gY2TbFZgAY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_E8mg3F4ndjktv6CTef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oc.f3w60ZJRjWrS5n.W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6XMKahlfm6HDGKU0pOW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HOD Deck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69E"/>
        </a:solidFill>
        <a:ln w="9525" cap="rnd" cmpd="sng" algn="ctr">
          <a:solidFill>
            <a:srgbClr val="00269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EHOD Deck" id="{EA07FDC5-AF77-4841-B84C-D3C438A391C2}" vid="{BEA48E82-0878-482F-BF9D-C1688A293A7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5741674DAB3C4A91D4D4EAF8471F21" ma:contentTypeVersion="11" ma:contentTypeDescription="Create a new document." ma:contentTypeScope="" ma:versionID="f672628f18e604552888b26db57152cd">
  <xsd:schema xmlns:xsd="http://www.w3.org/2001/XMLSchema" xmlns:xs="http://www.w3.org/2001/XMLSchema" xmlns:p="http://schemas.microsoft.com/office/2006/metadata/properties" xmlns:ns2="284a69f8-a849-4d4f-929d-22bdf9b66af6" xmlns:ns3="7b83dbe2-6fd2-449a-a932-0d75829bf641" targetNamespace="http://schemas.microsoft.com/office/2006/metadata/properties" ma:root="true" ma:fieldsID="cc24d6724167a76a2a73d8d795ebaf54" ns2:_="" ns3:_="">
    <xsd:import namespace="284a69f8-a849-4d4f-929d-22bdf9b66af6"/>
    <xsd:import namespace="7b83dbe2-6fd2-449a-a932-0d75829bf64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4a69f8-a849-4d4f-929d-22bdf9b66a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83dbe2-6fd2-449a-a932-0d75829bf64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7D9098E-22E9-4BFB-8A9F-0780CE5B17B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E9FB60D-2858-4D43-A380-19A44015D15E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642CA929-3CE8-4D99-816A-727B43763326}"/>
</file>

<file path=docProps/app.xml><?xml version="1.0" encoding="utf-8"?>
<Properties xmlns="http://schemas.openxmlformats.org/officeDocument/2006/extended-properties" xmlns:vt="http://schemas.openxmlformats.org/officeDocument/2006/docPropsVTypes">
  <Template>EHOD Deck</Template>
  <TotalTime>30316</TotalTime>
  <Words>99</Words>
  <Application>Microsoft Office PowerPoint</Application>
  <PresentationFormat>Widescreen</PresentationFormat>
  <Paragraphs>23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Trebuchet MS</vt:lpstr>
      <vt:lpstr>EHOD Deck</vt:lpstr>
      <vt:lpstr>think-cell Slide</vt:lpstr>
      <vt:lpstr>Community Services Division Quarterly Reporting Tutorial</vt:lpstr>
      <vt:lpstr>Quarterly Report Requirements</vt:lpstr>
      <vt:lpstr>Quarterly Report Requirements</vt:lpstr>
      <vt:lpstr>Community Services Division Quarterly Reporting Tutoria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nnon, Patrick (EOHED)</dc:creator>
  <cp:lastModifiedBy>Zamborlini, Filipe (OCD)</cp:lastModifiedBy>
  <cp:revision>65</cp:revision>
  <dcterms:created xsi:type="dcterms:W3CDTF">2021-06-07T19:12:02Z</dcterms:created>
  <dcterms:modified xsi:type="dcterms:W3CDTF">2022-03-16T19:3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5741674DAB3C4A91D4D4EAF8471F21</vt:lpwstr>
  </property>
  <property fmtid="{D5CDD505-2E9C-101B-9397-08002B2CF9AE}" pid="3" name="Order">
    <vt:r8>43400</vt:r8>
  </property>
</Properties>
</file>